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59" r:id="rId1"/>
  </p:sldMasterIdLst>
  <p:notesMasterIdLst>
    <p:notesMasterId r:id="rId3"/>
  </p:notesMasterIdLst>
  <p:handoutMasterIdLst>
    <p:handoutMasterId r:id="rId4"/>
  </p:handoutMasterIdLst>
  <p:sldIdLst>
    <p:sldId id="264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78" d="100"/>
          <a:sy n="78" d="100"/>
        </p:scale>
        <p:origin x="90" y="762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6/1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1/06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489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 June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7AB33E9D-A1A4-4406-8E06-8745A359AEC4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7294596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Se ahorra un mínimo de un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15 %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n el consumo de energía gracias a las nuevas lámparas ECO en las Series 2.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Mayor nivel de irradiación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Adaptación sencilla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Mejor distribución por zonas y mayor protección de los cuello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stabilidad de proceso mejorada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Tubo de cuarzo protegido mecánicamente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Las capacidades de proceso siguen siendo universales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Combine las lámparas ECO con el reflector superior del horno en las sopladoras Series 1 o Series 2 y obtenga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30 % de ahorro en energía</a:t>
                      </a:r>
                      <a:r>
                        <a:t>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uevos tipos de lámparas, sobre la base de tecnología comprobada, con dos alturas diferentes para ajustarse a</a:t>
                      </a:r>
                      <a:br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l bastidor de paso progresivo original.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4 a 6 lámparas: 2 kW, 400 V, paso 19 mm.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tras lámparas: 2 kW, 400 V, paso 14mm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gestión de la ventilación del horno está actualizada. Cuando la máquina se detiene, la ventilación se mantiene a un nivel estable (100 % durante 7 min) con el fin de evacuar las calorías acumulada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dirty="0"/>
              <a:t>Reduzca el consumo </a:t>
            </a:r>
            <a:r>
              <a:rPr dirty="0" err="1"/>
              <a:t>eléctrico</a:t>
            </a:r>
            <a:r>
              <a:rPr dirty="0"/>
              <a:t> </a:t>
            </a:r>
            <a:r>
              <a:rPr lang="fr-FR" dirty="0" err="1"/>
              <a:t>hasta</a:t>
            </a:r>
            <a:r>
              <a:rPr lang="fr-FR" dirty="0"/>
              <a:t> en un 15%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Lámparas Eco en Series 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es-ES" sz="800" kern="0" dirty="0">
                <a:solidFill>
                  <a:srgbClr val="000000"/>
                </a:solidFill>
              </a:rPr>
              <a:t>Valor: Optimización de costos, Sostenibilidad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eries 2</a:t>
            </a:r>
            <a:r>
              <a:rPr lang="en-US" sz="800" kern="0" dirty="0"/>
              <a:t> </a:t>
            </a:r>
            <a:r>
              <a:rPr lang="en-US" sz="800" kern="0" dirty="0" err="1"/>
              <a:t>excepto</a:t>
            </a:r>
            <a:r>
              <a:rPr lang="en-US" sz="800" kern="0" dirty="0"/>
              <a:t> la </a:t>
            </a:r>
            <a:r>
              <a:rPr lang="en-US" sz="800" kern="0" dirty="0" err="1"/>
              <a:t>versión</a:t>
            </a:r>
            <a:r>
              <a:rPr lang="en-US" sz="800" kern="0" dirty="0"/>
              <a:t> de </a:t>
            </a:r>
            <a:r>
              <a:rPr lang="en-US" sz="800" kern="0" dirty="0" err="1"/>
              <a:t>calentamiento</a:t>
            </a:r>
            <a:r>
              <a:rPr lang="en-US" sz="800" kern="0" dirty="0"/>
              <a:t> </a:t>
            </a:r>
            <a:r>
              <a:rPr lang="en-US" sz="800" kern="0"/>
              <a:t>fij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962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0127" y="4581128"/>
            <a:ext cx="2935023" cy="91963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F86B2008-124E-4A6B-A44F-10F1E9B6B1CA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E61DF8B-06BC-416C-B0E8-EBE2AFA07F3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760340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847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68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zca el consumo eléctrico hasta en un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1-06-01T11:2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8-03T14:21:22.8075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1T11:20:09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